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87"/>
  </p:notesMasterIdLst>
  <p:handoutMasterIdLst>
    <p:handoutMasterId r:id="rId88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46" r:id="rId66"/>
    <p:sldId id="338" r:id="rId67"/>
    <p:sldId id="349" r:id="rId68"/>
    <p:sldId id="334" r:id="rId69"/>
    <p:sldId id="336" r:id="rId70"/>
    <p:sldId id="337" r:id="rId71"/>
    <p:sldId id="309" r:id="rId72"/>
    <p:sldId id="350" r:id="rId73"/>
    <p:sldId id="341" r:id="rId74"/>
    <p:sldId id="351" r:id="rId75"/>
    <p:sldId id="354" r:id="rId76"/>
    <p:sldId id="353" r:id="rId77"/>
    <p:sldId id="355" r:id="rId78"/>
    <p:sldId id="290" r:id="rId79"/>
    <p:sldId id="339" r:id="rId80"/>
    <p:sldId id="281" r:id="rId81"/>
    <p:sldId id="289" r:id="rId82"/>
    <p:sldId id="347" r:id="rId83"/>
    <p:sldId id="348" r:id="rId84"/>
    <p:sldId id="342" r:id="rId85"/>
    <p:sldId id="356" r:id="rId86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72" d="100"/>
          <a:sy n="72" d="100"/>
        </p:scale>
        <p:origin x="5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handoutMaster" Target="handoutMasters/handoutMaster1.xml"/><Relationship Id="rId9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8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8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Gráficos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1)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Ao criar um gráfico você editar e alterar sua cor, formatação, inserir rotulo e mesmo alterar o tipo de gráfico (</a:t>
            </a:r>
            <a:r>
              <a:rPr lang="pt-BR" sz="1600" dirty="0" err="1"/>
              <a:t>Ex</a:t>
            </a:r>
            <a:r>
              <a:rPr lang="pt-BR" sz="1600" dirty="0"/>
              <a:t>: de </a:t>
            </a:r>
            <a:r>
              <a:rPr lang="pt-BR" sz="1600" dirty="0" err="1"/>
              <a:t>puizza</a:t>
            </a:r>
            <a:r>
              <a:rPr lang="pt-BR" sz="1600" dirty="0"/>
              <a:t> para Linha)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Selecionar o gráfico e clique com o botão direito do mouse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Abrir </a:t>
            </a: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Txt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Banco 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Fó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atação de Gráfico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brir Arquivo DR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selecionar o tipo de equação : Linear, Exponencial, Potenciação, etc... inclusive fazer uma projeção futura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DE TEXT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1690018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ermitem extrair e combinar textos  que estão dentro das células ao invés de texto separados em cada coluna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DIREITA = 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SQUERDA =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None/>
            </a:pPr>
            <a:r>
              <a:rPr lang="pt-BR" sz="1800" dirty="0"/>
              <a:t>EXT.TEXTO = retorna x caracteres a partir de qualquer posição que eu informar (sentido direita esquerda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40824" y="4173967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7 caracteres começando pela direit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3624"/>
            <a:ext cx="7040824" cy="184626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7040824" y="4543299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4 caracteres começando pela esquerd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40824" y="4928788"/>
            <a:ext cx="482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 partir da 6ª posição Extrai 8 caracteres</a:t>
            </a:r>
          </a:p>
        </p:txBody>
      </p:sp>
    </p:spTree>
    <p:extLst>
      <p:ext uri="{BB962C8B-B14F-4D97-AF65-F5344CB8AC3E}">
        <p14:creationId xmlns:p14="http://schemas.microsoft.com/office/powerpoint/2010/main" val="374098308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 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Gráfico de Pizza para saber qual fatia pertence a cada ESTADO. Insira  </a:t>
            </a:r>
            <a:r>
              <a:rPr lang="pt-BR" sz="1800" dirty="0" err="1"/>
              <a:t>Rotulos</a:t>
            </a:r>
            <a:r>
              <a:rPr lang="pt-BR" sz="1800" dirty="0"/>
              <a:t> de valores 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/>
              <a:t>Grafico</a:t>
            </a:r>
            <a:r>
              <a:rPr lang="pt-BR" sz="1800" dirty="0"/>
              <a:t> DE COLUNAS para Comparar ENTRE VENDEDORES insira rótulos com valore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3 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tilize o relatório de Vendas para mostrar graficamente durante todos o período, 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 Como é representado graficamente as vendas por Fornecedor ( represente com gráfico de 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arquivo Fornecedores.txt</a:t>
            </a:r>
            <a:r>
              <a:rPr lang="pt-BR" sz="1800" dirty="0">
                <a:latin typeface="Corbel" panose="020B0503020204020204" pitchFamily="34" charset="0"/>
              </a:rPr>
              <a:t>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De para </a:t>
            </a:r>
            <a:r>
              <a:rPr lang="pt-BR" sz="1800" dirty="0" err="1">
                <a:highlight>
                  <a:srgbClr val="FFFF00"/>
                </a:highlight>
                <a:latin typeface="Corbel" panose="020B0503020204020204" pitchFamily="34" charset="0"/>
              </a:rPr>
              <a:t>CCusto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Silvio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relatório de Gasto total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,</a:t>
            </a:r>
            <a:r>
              <a:rPr lang="pt-BR" sz="1800" dirty="0" err="1">
                <a:latin typeface="Corbel" panose="020B0503020204020204" pitchFamily="34" charset="0"/>
              </a:rPr>
              <a:t>PROCV,Texto</a:t>
            </a:r>
            <a:r>
              <a:rPr lang="pt-BR" sz="1800" dirty="0">
                <a:latin typeface="Corbel" panose="020B0503020204020204" pitchFamily="34" charset="0"/>
              </a:rPr>
              <a:t> para Coluna, FILTRO, Classificação, formula banco de dados (SOMASE, CONT.SE, MÉDIASE) </a:t>
            </a:r>
            <a:r>
              <a:rPr lang="pt-BR" sz="1800" dirty="0" err="1">
                <a:latin typeface="Corbel" panose="020B0503020204020204" pitchFamily="34" charset="0"/>
              </a:rPr>
              <a:t>Graficos</a:t>
            </a:r>
            <a:r>
              <a:rPr lang="pt-BR" sz="1800" dirty="0">
                <a:latin typeface="Corbel" panose="020B0503020204020204" pitchFamily="34" charset="0"/>
              </a:rPr>
              <a:t> , 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5757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lista personalizada permite todos os benefícios que já vimos sobre a facilidade com alça de preenchimento e classificação similar ao comportamento com dias da semana e meses do ano ou números sequenci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ara criar sua lista personalizadas, selecione a lista personalizada desejada e vá no caminho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5293347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Banco de dados a pagar está contido no arquivo </a:t>
            </a:r>
            <a:r>
              <a:rPr lang="pt-BR" sz="1800" b="1" u="sng" dirty="0"/>
              <a:t>Priorização de Pagamentos</a:t>
            </a:r>
            <a:r>
              <a:rPr lang="pt-BR" sz="1800" dirty="0"/>
              <a:t>.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AFIO: tente maximizar a quantidade de Notas/Registro que serão pagos: ou seja,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 - Pago poucas notas de alto valor ou muitas de pouco valor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ica: Formulas de Texto, </a:t>
            </a:r>
            <a:r>
              <a:rPr lang="pt-BR" sz="1800" dirty="0" err="1"/>
              <a:t>Procv</a:t>
            </a:r>
            <a:r>
              <a:rPr lang="pt-BR" sz="1800" dirty="0"/>
              <a:t>, Classificação, soma, lista personalizad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ões SE possibilitam que você faça comparações lógicas entre condições. Uma 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EX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Se minha nota é maior do que a Nota de corte, passei de ano, senão fico de recuperação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71" y="4927954"/>
            <a:ext cx="9531051" cy="93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04466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“</a:t>
            </a:r>
            <a:r>
              <a:rPr lang="pt-BR" sz="1800" dirty="0" err="1"/>
              <a:t>exercicios</a:t>
            </a:r>
            <a:r>
              <a:rPr lang="pt-BR" sz="1800" dirty="0"/>
              <a:t> se”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59583114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Tabela de Vendedore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Refaça o calculo de comissionamento de vendas de modo que seja possível simular rapidamente qual o gasto com comissão caso sejam alteradas as opções do tipo de comissionament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51721281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6  -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b="1" u="sng" dirty="0">
                <a:highlight>
                  <a:srgbClr val="FFFF00"/>
                </a:highlight>
              </a:rPr>
              <a:t>Funções aninhadas: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Excel utiliza o resultado de uma função como argumento de outra fun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Vantagem: Economia de Espaço, tempo, memoria, layout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vantagem: complexidade em rastrear e montar logic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Você consegue refazer o </a:t>
            </a:r>
            <a:r>
              <a:rPr lang="pt-BR" sz="1800" dirty="0" err="1"/>
              <a:t>Exercicio</a:t>
            </a:r>
            <a:r>
              <a:rPr lang="pt-BR" sz="1800" dirty="0"/>
              <a:t> anterior em apenas 1 Coluna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7233468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Criativ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or ser uma ferramenta de imagem, os Gráficos te permitem criar além do Excel interagindo com outros elementos tais como Figura, core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Um ótimo Exemplo é integrar os gráficos com elementos gráficos ou mesmo tornar o gráfico um figura “</a:t>
            </a:r>
            <a:r>
              <a:rPr lang="pt-BR" sz="1800" dirty="0" err="1"/>
              <a:t>jpeg</a:t>
            </a:r>
            <a:r>
              <a:rPr lang="pt-BR" sz="1800" dirty="0"/>
              <a:t>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Para inserir uma figura no Excel: Guia Inserir &gt; Ilustrações &gt; Imagens &gt; Procurar figura e clicar inseri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para formatação avançada de gráfico e figuras (somente funciona quando gráfico ou figura esta selecionado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Guia “Ferramentas de Imagem” (aba menu Superior)  &gt; Guia Forma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28530544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ashBoard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88378840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11171493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5 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 err="1"/>
              <a:t>Disponivel</a:t>
            </a:r>
            <a:r>
              <a:rPr lang="pt-BR" sz="3600" dirty="0"/>
              <a:t>  na Pasta Carreteiros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3163384" y="2839188"/>
            <a:ext cx="11171493" cy="1179624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RETORNAMOS AS 13:15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824637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86</TotalTime>
  <Words>6003</Words>
  <Application>Microsoft Office PowerPoint</Application>
  <PresentationFormat>Widescreen</PresentationFormat>
  <Paragraphs>778</Paragraphs>
  <Slides>85</Slides>
  <Notes>0</Notes>
  <HiddenSlides>8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5</vt:i4>
      </vt:variant>
    </vt:vector>
  </HeadingPairs>
  <TitlesOfParts>
    <vt:vector size="92" baseType="lpstr">
      <vt:lpstr>Arial</vt:lpstr>
      <vt:lpstr>Calibri</vt:lpstr>
      <vt:lpstr>Corbel</vt:lpstr>
      <vt:lpstr>Segoe UI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Cris</cp:lastModifiedBy>
  <cp:revision>405</cp:revision>
  <dcterms:created xsi:type="dcterms:W3CDTF">2018-08-19T15:50:37Z</dcterms:created>
  <dcterms:modified xsi:type="dcterms:W3CDTF">2018-12-10T01:23:20Z</dcterms:modified>
</cp:coreProperties>
</file>